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9"/>
  </p:notesMasterIdLst>
  <p:sldIdLst>
    <p:sldId id="257" r:id="rId3"/>
    <p:sldId id="286" r:id="rId4"/>
    <p:sldId id="287" r:id="rId5"/>
    <p:sldId id="288" r:id="rId6"/>
    <p:sldId id="292" r:id="rId7"/>
    <p:sldId id="29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90" d="100"/>
          <a:sy n="90" d="100"/>
        </p:scale>
        <p:origin x="4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4DCE70EB-5920-4FB1-9E9E-9FD1CDDEBF14}"/>
    <pc:docChg chg="custSel addSld delSld modSld">
      <pc:chgData name="Sandeep Reddy Hanumaihgari" userId="86a9f56c-2e65-4a80-9d64-63b9c07412a6" providerId="ADAL" clId="{4DCE70EB-5920-4FB1-9E9E-9FD1CDDEBF14}" dt="2018-05-05T06:52:47.365" v="425" actId="478"/>
      <pc:docMkLst>
        <pc:docMk/>
      </pc:docMkLst>
      <pc:sldChg chg="delSp modSp">
        <pc:chgData name="Sandeep Reddy Hanumaihgari" userId="86a9f56c-2e65-4a80-9d64-63b9c07412a6" providerId="ADAL" clId="{4DCE70EB-5920-4FB1-9E9E-9FD1CDDEBF14}" dt="2018-05-05T06:52:47.365" v="425" actId="478"/>
        <pc:sldMkLst>
          <pc:docMk/>
          <pc:sldMk cId="2922610226" sldId="286"/>
        </pc:sldMkLst>
        <pc:spChg chg="del">
          <ac:chgData name="Sandeep Reddy Hanumaihgari" userId="86a9f56c-2e65-4a80-9d64-63b9c07412a6" providerId="ADAL" clId="{4DCE70EB-5920-4FB1-9E9E-9FD1CDDEBF14}" dt="2018-05-05T06:52:47.365" v="425" actId="478"/>
          <ac:spMkLst>
            <pc:docMk/>
            <pc:sldMk cId="2922610226" sldId="286"/>
            <ac:spMk id="2" creationId="{1F473C90-801F-4268-BE39-98A0313B389D}"/>
          </ac:spMkLst>
        </pc:spChg>
        <pc:spChg chg="mod">
          <ac:chgData name="Sandeep Reddy Hanumaihgari" userId="86a9f56c-2e65-4a80-9d64-63b9c07412a6" providerId="ADAL" clId="{4DCE70EB-5920-4FB1-9E9E-9FD1CDDEBF14}" dt="2018-05-05T06:43:59.479" v="118" actId="20577"/>
          <ac:spMkLst>
            <pc:docMk/>
            <pc:sldMk cId="2922610226" sldId="286"/>
            <ac:spMk id="3" creationId="{FC1EE0A1-C6F0-4032-805A-5F00F515605F}"/>
          </ac:spMkLst>
        </pc:spChg>
      </pc:sldChg>
      <pc:sldChg chg="addSp delSp modSp">
        <pc:chgData name="Sandeep Reddy Hanumaihgari" userId="86a9f56c-2e65-4a80-9d64-63b9c07412a6" providerId="ADAL" clId="{4DCE70EB-5920-4FB1-9E9E-9FD1CDDEBF14}" dt="2018-05-05T06:46:54.497" v="188" actId="1076"/>
        <pc:sldMkLst>
          <pc:docMk/>
          <pc:sldMk cId="3530906681" sldId="287"/>
        </pc:sldMkLst>
        <pc:spChg chg="mod">
          <ac:chgData name="Sandeep Reddy Hanumaihgari" userId="86a9f56c-2e65-4a80-9d64-63b9c07412a6" providerId="ADAL" clId="{4DCE70EB-5920-4FB1-9E9E-9FD1CDDEBF14}" dt="2018-05-05T06:44:42.626" v="168" actId="20577"/>
          <ac:spMkLst>
            <pc:docMk/>
            <pc:sldMk cId="3530906681" sldId="287"/>
            <ac:spMk id="2" creationId="{A57022C2-D3F5-47F3-94C4-94A6FB647566}"/>
          </ac:spMkLst>
        </pc:spChg>
        <pc:spChg chg="mod">
          <ac:chgData name="Sandeep Reddy Hanumaihgari" userId="86a9f56c-2e65-4a80-9d64-63b9c07412a6" providerId="ADAL" clId="{4DCE70EB-5920-4FB1-9E9E-9FD1CDDEBF14}" dt="2018-05-05T06:46:40.795" v="186" actId="113"/>
          <ac:spMkLst>
            <pc:docMk/>
            <pc:sldMk cId="3530906681" sldId="287"/>
            <ac:spMk id="3" creationId="{1F24C198-2D06-48C4-94DB-215BABF7B787}"/>
          </ac:spMkLst>
        </pc:spChg>
        <pc:picChg chg="add mod">
          <ac:chgData name="Sandeep Reddy Hanumaihgari" userId="86a9f56c-2e65-4a80-9d64-63b9c07412a6" providerId="ADAL" clId="{4DCE70EB-5920-4FB1-9E9E-9FD1CDDEBF14}" dt="2018-05-05T06:46:54.497" v="188" actId="1076"/>
          <ac:picMkLst>
            <pc:docMk/>
            <pc:sldMk cId="3530906681" sldId="287"/>
            <ac:picMk id="4" creationId="{3D728C93-CC5E-404B-8BAE-AEA7B57E4B31}"/>
          </ac:picMkLst>
        </pc:picChg>
        <pc:picChg chg="del">
          <ac:chgData name="Sandeep Reddy Hanumaihgari" userId="86a9f56c-2e65-4a80-9d64-63b9c07412a6" providerId="ADAL" clId="{4DCE70EB-5920-4FB1-9E9E-9FD1CDDEBF14}" dt="2018-05-05T06:45:13.312" v="169" actId="478"/>
          <ac:picMkLst>
            <pc:docMk/>
            <pc:sldMk cId="3530906681" sldId="287"/>
            <ac:picMk id="5" creationId="{D15AB487-C4FD-4438-9357-C8100DB1EDDA}"/>
          </ac:picMkLst>
        </pc:picChg>
      </pc:sldChg>
      <pc:sldChg chg="addSp delSp modSp">
        <pc:chgData name="Sandeep Reddy Hanumaihgari" userId="86a9f56c-2e65-4a80-9d64-63b9c07412a6" providerId="ADAL" clId="{4DCE70EB-5920-4FB1-9E9E-9FD1CDDEBF14}" dt="2018-05-05T06:48:03.386" v="250" actId="1076"/>
        <pc:sldMkLst>
          <pc:docMk/>
          <pc:sldMk cId="3569276833" sldId="288"/>
        </pc:sldMkLst>
        <pc:spChg chg="mod">
          <ac:chgData name="Sandeep Reddy Hanumaihgari" userId="86a9f56c-2e65-4a80-9d64-63b9c07412a6" providerId="ADAL" clId="{4DCE70EB-5920-4FB1-9E9E-9FD1CDDEBF14}" dt="2018-05-05T06:47:20.698" v="244" actId="20577"/>
          <ac:spMkLst>
            <pc:docMk/>
            <pc:sldMk cId="3569276833" sldId="288"/>
            <ac:spMk id="2" creationId="{6D86AB7A-2BCE-47AA-BF47-88F1540C042A}"/>
          </ac:spMkLst>
        </pc:spChg>
        <pc:spChg chg="del mod">
          <ac:chgData name="Sandeep Reddy Hanumaihgari" userId="86a9f56c-2e65-4a80-9d64-63b9c07412a6" providerId="ADAL" clId="{4DCE70EB-5920-4FB1-9E9E-9FD1CDDEBF14}" dt="2018-05-05T06:47:52.854" v="246" actId="478"/>
          <ac:spMkLst>
            <pc:docMk/>
            <pc:sldMk cId="3569276833" sldId="288"/>
            <ac:spMk id="3" creationId="{E7607F9B-3673-49A6-AE57-93845A0BED9E}"/>
          </ac:spMkLst>
        </pc:spChg>
        <pc:spChg chg="add del mod">
          <ac:chgData name="Sandeep Reddy Hanumaihgari" userId="86a9f56c-2e65-4a80-9d64-63b9c07412a6" providerId="ADAL" clId="{4DCE70EB-5920-4FB1-9E9E-9FD1CDDEBF14}" dt="2018-05-05T06:47:56.398" v="247" actId="478"/>
          <ac:spMkLst>
            <pc:docMk/>
            <pc:sldMk cId="3569276833" sldId="288"/>
            <ac:spMk id="6" creationId="{794B76E9-A511-48B8-AA39-7E26FB9FD089}"/>
          </ac:spMkLst>
        </pc:spChg>
        <pc:picChg chg="del">
          <ac:chgData name="Sandeep Reddy Hanumaihgari" userId="86a9f56c-2e65-4a80-9d64-63b9c07412a6" providerId="ADAL" clId="{4DCE70EB-5920-4FB1-9E9E-9FD1CDDEBF14}" dt="2018-05-05T06:47:58.197" v="248" actId="478"/>
          <ac:picMkLst>
            <pc:docMk/>
            <pc:sldMk cId="3569276833" sldId="288"/>
            <ac:picMk id="4" creationId="{675E2A00-F941-4C68-9BCA-FA2B7C7587A4}"/>
          </ac:picMkLst>
        </pc:picChg>
        <pc:picChg chg="add mod">
          <ac:chgData name="Sandeep Reddy Hanumaihgari" userId="86a9f56c-2e65-4a80-9d64-63b9c07412a6" providerId="ADAL" clId="{4DCE70EB-5920-4FB1-9E9E-9FD1CDDEBF14}" dt="2018-05-05T06:48:03.386" v="250" actId="1076"/>
          <ac:picMkLst>
            <pc:docMk/>
            <pc:sldMk cId="3569276833" sldId="288"/>
            <ac:picMk id="7" creationId="{94E02F28-3EEB-4AAA-8957-28CD7E87F81F}"/>
          </ac:picMkLst>
        </pc:picChg>
      </pc:sldChg>
      <pc:sldChg chg="delSp del">
        <pc:chgData name="Sandeep Reddy Hanumaihgari" userId="86a9f56c-2e65-4a80-9d64-63b9c07412a6" providerId="ADAL" clId="{4DCE70EB-5920-4FB1-9E9E-9FD1CDDEBF14}" dt="2018-05-05T06:52:36.186" v="424" actId="2696"/>
        <pc:sldMkLst>
          <pc:docMk/>
          <pc:sldMk cId="596359690" sldId="289"/>
        </pc:sldMkLst>
        <pc:spChg chg="del">
          <ac:chgData name="Sandeep Reddy Hanumaihgari" userId="86a9f56c-2e65-4a80-9d64-63b9c07412a6" providerId="ADAL" clId="{4DCE70EB-5920-4FB1-9E9E-9FD1CDDEBF14}" dt="2018-05-05T06:52:14.330" v="421" actId="478"/>
          <ac:spMkLst>
            <pc:docMk/>
            <pc:sldMk cId="596359690" sldId="289"/>
            <ac:spMk id="2" creationId="{46FFE4DC-594E-4516-93D5-50D059822148}"/>
          </ac:spMkLst>
        </pc:spChg>
      </pc:sldChg>
      <pc:sldChg chg="del">
        <pc:chgData name="Sandeep Reddy Hanumaihgari" userId="86a9f56c-2e65-4a80-9d64-63b9c07412a6" providerId="ADAL" clId="{4DCE70EB-5920-4FB1-9E9E-9FD1CDDEBF14}" dt="2018-05-05T06:52:20.995" v="422" actId="2696"/>
        <pc:sldMkLst>
          <pc:docMk/>
          <pc:sldMk cId="1880372992" sldId="290"/>
        </pc:sldMkLst>
      </pc:sldChg>
      <pc:sldChg chg="del">
        <pc:chgData name="Sandeep Reddy Hanumaihgari" userId="86a9f56c-2e65-4a80-9d64-63b9c07412a6" providerId="ADAL" clId="{4DCE70EB-5920-4FB1-9E9E-9FD1CDDEBF14}" dt="2018-05-05T06:52:33.553" v="423" actId="2696"/>
        <pc:sldMkLst>
          <pc:docMk/>
          <pc:sldMk cId="2674274412" sldId="291"/>
        </pc:sldMkLst>
      </pc:sldChg>
      <pc:sldChg chg="addSp delSp modSp add">
        <pc:chgData name="Sandeep Reddy Hanumaihgari" userId="86a9f56c-2e65-4a80-9d64-63b9c07412a6" providerId="ADAL" clId="{4DCE70EB-5920-4FB1-9E9E-9FD1CDDEBF14}" dt="2018-05-05T06:50:23.899" v="326" actId="1076"/>
        <pc:sldMkLst>
          <pc:docMk/>
          <pc:sldMk cId="2354108387" sldId="292"/>
        </pc:sldMkLst>
        <pc:spChg chg="mod">
          <ac:chgData name="Sandeep Reddy Hanumaihgari" userId="86a9f56c-2e65-4a80-9d64-63b9c07412a6" providerId="ADAL" clId="{4DCE70EB-5920-4FB1-9E9E-9FD1CDDEBF14}" dt="2018-05-05T06:49:15.627" v="315" actId="20577"/>
          <ac:spMkLst>
            <pc:docMk/>
            <pc:sldMk cId="2354108387" sldId="292"/>
            <ac:spMk id="2" creationId="{FFCF69E0-1CA2-42AF-AC2F-4204F777B92F}"/>
          </ac:spMkLst>
        </pc:spChg>
        <pc:spChg chg="del">
          <ac:chgData name="Sandeep Reddy Hanumaihgari" userId="86a9f56c-2e65-4a80-9d64-63b9c07412a6" providerId="ADAL" clId="{4DCE70EB-5920-4FB1-9E9E-9FD1CDDEBF14}" dt="2018-05-05T06:49:18.579" v="316" actId="478"/>
          <ac:spMkLst>
            <pc:docMk/>
            <pc:sldMk cId="2354108387" sldId="292"/>
            <ac:spMk id="3" creationId="{5E986DD8-5CF9-4FEC-BA94-7E2668A08D53}"/>
          </ac:spMkLst>
        </pc:spChg>
        <pc:picChg chg="add mod">
          <ac:chgData name="Sandeep Reddy Hanumaihgari" userId="86a9f56c-2e65-4a80-9d64-63b9c07412a6" providerId="ADAL" clId="{4DCE70EB-5920-4FB1-9E9E-9FD1CDDEBF14}" dt="2018-05-05T06:50:23.899" v="326" actId="1076"/>
          <ac:picMkLst>
            <pc:docMk/>
            <pc:sldMk cId="2354108387" sldId="292"/>
            <ac:picMk id="4" creationId="{F79E1406-724A-4F20-90DB-E040425B8A6E}"/>
          </ac:picMkLst>
        </pc:picChg>
      </pc:sldChg>
      <pc:sldChg chg="addSp delSp modSp add">
        <pc:chgData name="Sandeep Reddy Hanumaihgari" userId="86a9f56c-2e65-4a80-9d64-63b9c07412a6" providerId="ADAL" clId="{4DCE70EB-5920-4FB1-9E9E-9FD1CDDEBF14}" dt="2018-05-05T06:51:45.224" v="420" actId="1076"/>
        <pc:sldMkLst>
          <pc:docMk/>
          <pc:sldMk cId="2864816752" sldId="293"/>
        </pc:sldMkLst>
        <pc:spChg chg="mod">
          <ac:chgData name="Sandeep Reddy Hanumaihgari" userId="86a9f56c-2e65-4a80-9d64-63b9c07412a6" providerId="ADAL" clId="{4DCE70EB-5920-4FB1-9E9E-9FD1CDDEBF14}" dt="2018-05-05T06:50:59.874" v="415" actId="20577"/>
          <ac:spMkLst>
            <pc:docMk/>
            <pc:sldMk cId="2864816752" sldId="293"/>
            <ac:spMk id="2" creationId="{52AFBF0D-C0FC-4B4B-A513-491B385271D5}"/>
          </ac:spMkLst>
        </pc:spChg>
        <pc:spChg chg="del">
          <ac:chgData name="Sandeep Reddy Hanumaihgari" userId="86a9f56c-2e65-4a80-9d64-63b9c07412a6" providerId="ADAL" clId="{4DCE70EB-5920-4FB1-9E9E-9FD1CDDEBF14}" dt="2018-05-05T06:51:02.682" v="416" actId="478"/>
          <ac:spMkLst>
            <pc:docMk/>
            <pc:sldMk cId="2864816752" sldId="293"/>
            <ac:spMk id="3" creationId="{27F2B327-FCB9-404F-A996-34EF8FCD50F4}"/>
          </ac:spMkLst>
        </pc:spChg>
        <pc:picChg chg="add mod">
          <ac:chgData name="Sandeep Reddy Hanumaihgari" userId="86a9f56c-2e65-4a80-9d64-63b9c07412a6" providerId="ADAL" clId="{4DCE70EB-5920-4FB1-9E9E-9FD1CDDEBF14}" dt="2018-05-05T06:51:45.224" v="420" actId="1076"/>
          <ac:picMkLst>
            <pc:docMk/>
            <pc:sldMk cId="2864816752" sldId="293"/>
            <ac:picMk id="4" creationId="{190918AD-3E24-4E0A-9C1F-7A5983E85937}"/>
          </ac:picMkLst>
        </pc:picChg>
      </pc:sldChg>
    </pc:docChg>
  </pc:docChgLst>
  <pc:docChgLst>
    <pc:chgData name="Sandeep Reddy Hanumaihgari" userId="86a9f56c-2e65-4a80-9d64-63b9c07412a6" providerId="ADAL" clId="{71B50FF3-AB2A-448E-9D5A-19D618C94357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dirty="0"/>
              <a:t>SAP HANA Revision Strategy</a:t>
            </a:r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1EE0A1-C6F0-4032-805A-5F00F51560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fontAlgn="base">
              <a:buNone/>
            </a:pPr>
            <a:r>
              <a:rPr lang="en-US" dirty="0"/>
              <a:t>SAP HANA is very dynamic product. Continuous technology enhancements are delivered once a year (starting with SPS 02) for agile IT.</a:t>
            </a:r>
          </a:p>
          <a:p>
            <a:pPr marL="0" indent="0" fontAlgn="base">
              <a:buNone/>
            </a:pPr>
            <a:endParaRPr lang="en-US" dirty="0"/>
          </a:p>
          <a:p>
            <a:pPr fontAlgn="base"/>
            <a:r>
              <a:rPr lang="en-US" dirty="0"/>
              <a:t>You can </a:t>
            </a:r>
            <a:r>
              <a:rPr lang="en-US" b="1" dirty="0"/>
              <a:t>upgrade from any revision to any newer revision</a:t>
            </a:r>
            <a:r>
              <a:rPr lang="en-US" dirty="0"/>
              <a:t>, making maintenance very straightforward.</a:t>
            </a:r>
          </a:p>
          <a:p>
            <a:pPr fontAlgn="base"/>
            <a:r>
              <a:rPr lang="en-US" dirty="0"/>
              <a:t>Updates are strictly </a:t>
            </a:r>
            <a:r>
              <a:rPr lang="en-US" b="1" dirty="0"/>
              <a:t>backward compatible</a:t>
            </a:r>
            <a:r>
              <a:rPr lang="en-US" dirty="0"/>
              <a:t>. Incompatible changes may be considered due to legal or security reasons but follow a strict exception approval process.</a:t>
            </a:r>
          </a:p>
          <a:p>
            <a:pPr fontAlgn="base"/>
            <a:r>
              <a:rPr lang="en-US" dirty="0"/>
              <a:t>Bug fixes and performance improvements come regularly</a:t>
            </a:r>
          </a:p>
          <a:p>
            <a:pPr fontAlgn="base"/>
            <a:r>
              <a:rPr lang="en-US" dirty="0"/>
              <a:t>Every bug every found is included into </a:t>
            </a:r>
            <a:r>
              <a:rPr lang="en-US" b="1" dirty="0"/>
              <a:t>continuous regression testing</a:t>
            </a:r>
            <a:endParaRPr lang="en-US" dirty="0"/>
          </a:p>
          <a:p>
            <a:pPr marL="0" indent="0">
              <a:buNone/>
            </a:pPr>
            <a:br>
              <a:rPr lang="en-US" sz="1400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2261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022C2-D3F5-47F3-94C4-94A6FB647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AP HANA Release Strategy – Key Takeaway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24C198-2D06-48C4-94DB-215BABF7B7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1600" y="1241749"/>
            <a:ext cx="11664000" cy="4633200"/>
          </a:xfrm>
        </p:spPr>
        <p:txBody>
          <a:bodyPr/>
          <a:lstStyle/>
          <a:p>
            <a:r>
              <a:rPr lang="en-US" dirty="0"/>
              <a:t>In the context of the SAP HANA platform, corrections are shipped in the form of </a:t>
            </a:r>
            <a:r>
              <a:rPr lang="en-US" b="1" dirty="0"/>
              <a:t>Revisions</a:t>
            </a:r>
            <a:r>
              <a:rPr lang="en-US" dirty="0"/>
              <a:t> and </a:t>
            </a:r>
            <a:r>
              <a:rPr lang="en-US" b="1" dirty="0"/>
              <a:t>Support Packages</a:t>
            </a:r>
            <a:r>
              <a:rPr lang="en-US" dirty="0"/>
              <a:t> of the product’s components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The term “Revision” refers to packages containing fixes for the SAP HANA core components (SAP HANA Database, Studio, Clients, AFLs, SDA)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728C93-CC5E-404B-8BAE-AEA7B57E4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1222" y="2596223"/>
            <a:ext cx="8984755" cy="34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0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6AB7A-2BCE-47AA-BF47-88F1540C0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Release Strategy</a:t>
            </a:r>
            <a:br>
              <a:rPr lang="en-US" dirty="0"/>
            </a:br>
            <a:r>
              <a:rPr lang="en-US" dirty="0"/>
              <a:t>Transition to SAP HANA 2.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E02F28-3EEB-4AAA-8957-28CD7E87F8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028" y="1418623"/>
            <a:ext cx="10257143" cy="45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27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F69E0-1CA2-42AF-AC2F-4204F777B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ion Path to SAP HANA </a:t>
            </a:r>
            <a:br>
              <a:rPr lang="en-US" dirty="0"/>
            </a:br>
            <a:r>
              <a:rPr lang="en-US" dirty="0"/>
              <a:t>New Custom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9E1406-724A-4F20-90DB-E040425B8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599" y="1492929"/>
            <a:ext cx="11546623" cy="4066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10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FBF0D-C0FC-4B4B-A513-491B38527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ion Path To SAP HANA 2.0</a:t>
            </a:r>
            <a:br>
              <a:rPr lang="en-US" dirty="0"/>
            </a:br>
            <a:r>
              <a:rPr lang="en-US" dirty="0"/>
              <a:t>Existing Custom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0918AD-3E24-4E0A-9C1F-7A5983E85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024" y="1608845"/>
            <a:ext cx="10505952" cy="414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1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66</Words>
  <PresentationFormat>Widescreen</PresentationFormat>
  <Paragraphs>1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HANA Revision Strategy</vt:lpstr>
      <vt:lpstr>PowerPoint Presentation</vt:lpstr>
      <vt:lpstr>SAP HANA Release Strategy – Key Takeaways</vt:lpstr>
      <vt:lpstr>SAP HANA Release Strategy Transition to SAP HANA 2.0</vt:lpstr>
      <vt:lpstr>Transition Path to SAP HANA  New Customers</vt:lpstr>
      <vt:lpstr>Transition Path To SAP HANA 2.0 Existing Custom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5-05T06:52:56Z</dcterms:modified>
</cp:coreProperties>
</file>